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0" r:id="rId1"/>
    <p:sldMasterId id="2147483900" r:id="rId2"/>
    <p:sldMasterId id="2147483905" r:id="rId3"/>
    <p:sldMasterId id="2147483916" r:id="rId4"/>
    <p:sldMasterId id="2147483928" r:id="rId5"/>
    <p:sldMasterId id="2147483938" r:id="rId6"/>
    <p:sldMasterId id="2147483948" r:id="rId7"/>
    <p:sldMasterId id="2147483959" r:id="rId8"/>
    <p:sldMasterId id="2147483970" r:id="rId9"/>
    <p:sldMasterId id="2147483991" r:id="rId10"/>
    <p:sldMasterId id="2147484001" r:id="rId11"/>
    <p:sldMasterId id="2147484009" r:id="rId12"/>
    <p:sldMasterId id="2147484021" r:id="rId13"/>
    <p:sldMasterId id="2147484034" r:id="rId14"/>
  </p:sldMasterIdLst>
  <p:notesMasterIdLst>
    <p:notesMasterId r:id="rId19"/>
  </p:notesMasterIdLst>
  <p:handoutMasterIdLst>
    <p:handoutMasterId r:id="rId20"/>
  </p:handoutMasterIdLst>
  <p:sldIdLst>
    <p:sldId id="618" r:id="rId15"/>
    <p:sldId id="616" r:id="rId16"/>
    <p:sldId id="617" r:id="rId17"/>
    <p:sldId id="620" r:id="rId18"/>
  </p:sldIdLst>
  <p:sldSz cx="9906000" cy="6858000" type="A4"/>
  <p:notesSz cx="6807200" cy="9939338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107" d="100"/>
          <a:sy n="107" d="100"/>
        </p:scale>
        <p:origin x="1266" y="102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4/16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4/16/2025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1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5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/>
              <a:t>鉄道事業者としての</a:t>
            </a:r>
            <a:r>
              <a:rPr kumimoji="1" lang="en-US" altLang="ja-JP"/>
              <a:t>MaaS</a:t>
            </a:r>
            <a:r>
              <a:rPr kumimoji="1" lang="ja-JP" altLang="en-US"/>
              <a:t>事業への取組みに関する討議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先進的デジタル技術活用実証プロジェクト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（課題とその解決の対応方法）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）</a:t>
            </a:r>
            <a:endParaRPr kumimoji="1" lang="ja-JP" altLang="en-US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</a:b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（スライドが複数ある場合は、新しいスライドを適宜追加してください。）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実証プロジェクトの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AR Pゴシック体M" panose="020B0600000000000000" pitchFamily="50" charset="-128"/>
                <a:ea typeface="AR Pゴシック体M" panose="020B0600000000000000" pitchFamily="50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AR Pゴシック体M" panose="020B0600000000000000" pitchFamily="50" charset="-128"/>
              <a:ea typeface="AR Pゴシック体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113</Words>
  <Application>Microsoft Office PowerPoint</Application>
  <PresentationFormat>A4 210 x 297 mm</PresentationFormat>
  <Paragraphs>12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25" baseType="lpstr">
      <vt:lpstr>AR Pゴシック体M</vt:lpstr>
      <vt:lpstr>Meiryo UI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（課題とその解決の対応方法）について具体的にご記入ください。 （スライドが複数ある場合は、新しいスライドを適宜追加してください。）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5-04-16T11:54:45Z</dcterms:created>
  <dcterms:modified xsi:type="dcterms:W3CDTF">2025-04-16T11:54:51Z</dcterms:modified>
</cp:coreProperties>
</file>